
<file path=[Content_Types].xml><?xml version="1.0" encoding="utf-8"?>
<Types xmlns="http://schemas.openxmlformats.org/package/2006/content-types"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Default Extension="bin" ContentType="application/vnd.openxmlformats-officedocument.oleObject"/>
  <Override PartName="/ppt/slideMasters/slideMaster1.xml" ContentType="application/vnd.openxmlformats-officedocument.presentationml.slideMaster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61" r:id="rId2"/>
  </p:sldIdLst>
  <p:sldSz cx="9144000" cy="6858000" type="screen4x3"/>
  <p:notesSz cx="6858000" cy="9144000"/>
  <p:custDataLst>
    <p:tags r:id="rId3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344" autoAdjust="0"/>
    <p:restoredTop sz="94692" autoAdjust="0"/>
  </p:normalViewPr>
  <p:slideViewPr>
    <p:cSldViewPr showGuides="1">
      <p:cViewPr>
        <p:scale>
          <a:sx n="66" d="100"/>
          <a:sy n="66" d="100"/>
        </p:scale>
        <p:origin x="-1326" y="-162"/>
      </p:cViewPr>
      <p:guideLst>
        <p:guide orient="horz"/>
        <p:guide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47211-5E38-4514-83FC-A6A54E7854D9}" type="datetimeFigureOut">
              <a:rPr lang="ru-RU" smtClean="0"/>
              <a:pPr/>
              <a:t>27.03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6841DA-9468-4AA4-ACA2-9A62BB572E5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1107556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47211-5E38-4514-83FC-A6A54E7854D9}" type="datetimeFigureOut">
              <a:rPr lang="ru-RU" smtClean="0"/>
              <a:pPr/>
              <a:t>27.03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6841DA-9468-4AA4-ACA2-9A62BB572E5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5650912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47211-5E38-4514-83FC-A6A54E7854D9}" type="datetimeFigureOut">
              <a:rPr lang="ru-RU" smtClean="0"/>
              <a:pPr/>
              <a:t>27.03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6841DA-9468-4AA4-ACA2-9A62BB572E5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5687188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47211-5E38-4514-83FC-A6A54E7854D9}" type="datetimeFigureOut">
              <a:rPr lang="ru-RU" smtClean="0"/>
              <a:pPr/>
              <a:t>27.03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6841DA-9468-4AA4-ACA2-9A62BB572E5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2836707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47211-5E38-4514-83FC-A6A54E7854D9}" type="datetimeFigureOut">
              <a:rPr lang="ru-RU" smtClean="0"/>
              <a:pPr/>
              <a:t>27.03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6841DA-9468-4AA4-ACA2-9A62BB572E5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843240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47211-5E38-4514-83FC-A6A54E7854D9}" type="datetimeFigureOut">
              <a:rPr lang="ru-RU" smtClean="0"/>
              <a:pPr/>
              <a:t>27.03.201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6841DA-9468-4AA4-ACA2-9A62BB572E5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5697524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47211-5E38-4514-83FC-A6A54E7854D9}" type="datetimeFigureOut">
              <a:rPr lang="ru-RU" smtClean="0"/>
              <a:pPr/>
              <a:t>27.03.201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6841DA-9468-4AA4-ACA2-9A62BB572E5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5217211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47211-5E38-4514-83FC-A6A54E7854D9}" type="datetimeFigureOut">
              <a:rPr lang="ru-RU" smtClean="0"/>
              <a:pPr/>
              <a:t>27.03.201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6841DA-9468-4AA4-ACA2-9A62BB572E5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9557178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47211-5E38-4514-83FC-A6A54E7854D9}" type="datetimeFigureOut">
              <a:rPr lang="ru-RU" smtClean="0"/>
              <a:pPr/>
              <a:t>27.03.201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6841DA-9468-4AA4-ACA2-9A62BB572E5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7840512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47211-5E38-4514-83FC-A6A54E7854D9}" type="datetimeFigureOut">
              <a:rPr lang="ru-RU" smtClean="0"/>
              <a:pPr/>
              <a:t>27.03.201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6841DA-9468-4AA4-ACA2-9A62BB572E5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9612295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47211-5E38-4514-83FC-A6A54E7854D9}" type="datetimeFigureOut">
              <a:rPr lang="ru-RU" smtClean="0"/>
              <a:pPr/>
              <a:t>27.03.201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6841DA-9468-4AA4-ACA2-9A62BB572E5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8126720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A47211-5E38-4514-83FC-A6A54E7854D9}" type="datetimeFigureOut">
              <a:rPr lang="ru-RU" smtClean="0"/>
              <a:pPr/>
              <a:t>27.03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6841DA-9468-4AA4-ACA2-9A62BB572E5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2679373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6" Type="http://schemas.openxmlformats.org/officeDocument/2006/relationships/oleObject" Target="../embeddings/oleObject2.bin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Объект 26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5073137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150" name="think-cell Slide" r:id="rId15" imgW="360" imgH="360" progId="">
              <p:embed/>
            </p:oleObj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600">
              <a:latin typeface="Arial"/>
              <a:cs typeface="Arial"/>
              <a:sym typeface="Arial"/>
            </a:endParaRPr>
          </a:p>
        </p:txBody>
      </p:sp>
      <p:sp>
        <p:nvSpPr>
          <p:cNvPr id="5" name="Rectangle 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51520" y="188640"/>
            <a:ext cx="8280920" cy="55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95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9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КАКОЙ ИЗ</a:t>
            </a:r>
            <a:r>
              <a:rPr kumimoji="0" lang="ru-RU" sz="1900" b="1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КОМПОНЕНТОВ ТЕХНОЛОГИЧЕСКОЙ ЭКОСИСТЕМЫ НА ВАШ ВЗГЛЯД НАИБОЛЕЕ КРИТИЧЕН ДЛЯ РАЗВИТИЯ МФЦ?</a:t>
            </a:r>
            <a:endParaRPr kumimoji="0" lang="en-US" sz="19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  <a:sym typeface="FreeSetC Bold"/>
            </a:endParaRPr>
          </a:p>
        </p:txBody>
      </p:sp>
      <p:graphicFrame>
        <p:nvGraphicFramePr>
          <p:cNvPr id="6" name="Объект 5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3905244090"/>
              </p:ext>
            </p:extLst>
          </p:nvPr>
        </p:nvGraphicFramePr>
        <p:xfrm>
          <a:off x="4008438" y="917575"/>
          <a:ext cx="3619567" cy="5610346"/>
        </p:xfrm>
        <a:graphic>
          <a:graphicData uri="http://schemas.openxmlformats.org/presentationml/2006/ole">
            <p:oleObj spid="_x0000_s6151" name="Диаграмма" r:id="rId16" imgW="3619567" imgH="5610346" progId="MSGraph.Chart.8">
              <p:embed followColorScheme="full"/>
            </p:oleObj>
          </a:graphicData>
        </a:graphic>
      </p:graphicFrame>
      <p:sp>
        <p:nvSpPr>
          <p:cNvPr id="32" name="Прямоугольник 31"/>
          <p:cNvSpPr/>
          <p:nvPr>
            <p:custDataLst>
              <p:tags r:id="rId4"/>
            </p:custDataLst>
          </p:nvPr>
        </p:nvSpPr>
        <p:spPr bwMode="auto">
          <a:xfrm>
            <a:off x="7548563" y="1433513"/>
            <a:ext cx="633413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8575" tIns="0" rIns="2857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DD7C3091-6DCD-4B51-8E49-05466145FE82}" type="datetime'''''''''''''''''''''''''''''''''''''''''''''''''''54''.8'">
              <a:rPr lang="en-US" sz="16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>
                <a:spcBef>
                  <a:spcPct val="0"/>
                </a:spcBef>
                <a:spcAft>
                  <a:spcPct val="0"/>
                </a:spcAft>
              </a:pPr>
              <a:t>54.8</a:t>
            </a:fld>
            <a:r>
              <a:rPr lang="ru-RU" sz="16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%</a:t>
            </a:r>
            <a:endParaRPr lang="ru-RU" sz="16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9" name="Прямоугольник 28"/>
          <p:cNvSpPr/>
          <p:nvPr>
            <p:custDataLst>
              <p:tags r:id="rId5"/>
            </p:custDataLst>
          </p:nvPr>
        </p:nvSpPr>
        <p:spPr bwMode="auto">
          <a:xfrm>
            <a:off x="2462213" y="5757863"/>
            <a:ext cx="1606550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ru-RU" sz="16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Финансирование</a:t>
            </a:r>
            <a:endParaRPr lang="ru-RU" sz="16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6" name="Прямоугольник 35"/>
          <p:cNvSpPr/>
          <p:nvPr>
            <p:custDataLst>
              <p:tags r:id="rId6"/>
            </p:custDataLst>
          </p:nvPr>
        </p:nvSpPr>
        <p:spPr bwMode="auto">
          <a:xfrm>
            <a:off x="4491038" y="5757863"/>
            <a:ext cx="520700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8575" tIns="0" rIns="2857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E4ADC16-178C-4A95-92C7-DBD4F3986614}" type="datetime'''4''''.''''''''''''''8'''''''''''''''">
              <a:rPr lang="en-US" sz="16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>
                <a:spcBef>
                  <a:spcPct val="0"/>
                </a:spcBef>
                <a:spcAft>
                  <a:spcPct val="0"/>
                </a:spcAft>
              </a:pPr>
              <a:t>4.8</a:t>
            </a:fld>
            <a:r>
              <a:rPr lang="ru-RU" sz="16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%</a:t>
            </a:r>
            <a:endParaRPr lang="ru-RU" sz="16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8" name="Прямоугольник 27"/>
          <p:cNvSpPr/>
          <p:nvPr>
            <p:custDataLst>
              <p:tags r:id="rId7"/>
            </p:custDataLst>
          </p:nvPr>
        </p:nvSpPr>
        <p:spPr bwMode="auto">
          <a:xfrm>
            <a:off x="1733550" y="4676775"/>
            <a:ext cx="2335213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ru-RU" sz="16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Государство как партнер</a:t>
            </a:r>
            <a:endParaRPr lang="ru-RU" sz="16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5" name="Прямоугольник 34"/>
          <p:cNvSpPr/>
          <p:nvPr>
            <p:custDataLst>
              <p:tags r:id="rId8"/>
            </p:custDataLst>
          </p:nvPr>
        </p:nvSpPr>
        <p:spPr bwMode="auto">
          <a:xfrm>
            <a:off x="4491038" y="4676775"/>
            <a:ext cx="520700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8575" tIns="0" rIns="2857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0CD8D1B-92DC-49D5-B529-EFCFE701D86F}" type="datetime'''''''''''''''''''''4''''''.''''''''''''8'">
              <a:rPr lang="en-US" sz="16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>
                <a:spcBef>
                  <a:spcPct val="0"/>
                </a:spcBef>
                <a:spcAft>
                  <a:spcPct val="0"/>
                </a:spcAft>
              </a:pPr>
              <a:t>4.8</a:t>
            </a:fld>
            <a:r>
              <a:rPr lang="ru-RU" sz="16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%</a:t>
            </a:r>
            <a:endParaRPr lang="ru-RU" sz="16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0" name="Прямоугольник 9"/>
          <p:cNvSpPr/>
          <p:nvPr>
            <p:custDataLst>
              <p:tags r:id="rId9"/>
            </p:custDataLst>
          </p:nvPr>
        </p:nvSpPr>
        <p:spPr bwMode="auto">
          <a:xfrm>
            <a:off x="1414463" y="3473450"/>
            <a:ext cx="2654300" cy="48895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ru-RU" sz="16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Регулирование, стандарты, </a:t>
            </a:r>
            <a:br>
              <a:rPr lang="ru-RU" sz="16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</a:br>
            <a:r>
              <a:rPr lang="ru-RU" sz="16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рыночная практика</a:t>
            </a:r>
            <a:endParaRPr lang="ru-RU" sz="16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4" name="Прямоугольник 33"/>
          <p:cNvSpPr/>
          <p:nvPr>
            <p:custDataLst>
              <p:tags r:id="rId10"/>
            </p:custDataLst>
          </p:nvPr>
        </p:nvSpPr>
        <p:spPr bwMode="auto">
          <a:xfrm>
            <a:off x="4919663" y="3595688"/>
            <a:ext cx="633413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8575" tIns="0" rIns="2857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9877F4F3-0375-4595-8DFA-0388884D84E5}" type="datetime'''''''''1''''''1''''''''.''''''9'">
              <a:rPr lang="en-US" sz="16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>
                <a:spcBef>
                  <a:spcPct val="0"/>
                </a:spcBef>
                <a:spcAft>
                  <a:spcPct val="0"/>
                </a:spcAft>
              </a:pPr>
              <a:t>11.9</a:t>
            </a:fld>
            <a:r>
              <a:rPr lang="ru-RU" sz="16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%</a:t>
            </a:r>
            <a:endParaRPr lang="ru-RU" sz="16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" name="Прямоугольник 8"/>
          <p:cNvSpPr/>
          <p:nvPr>
            <p:custDataLst>
              <p:tags r:id="rId11"/>
            </p:custDataLst>
          </p:nvPr>
        </p:nvSpPr>
        <p:spPr bwMode="auto">
          <a:xfrm>
            <a:off x="1341438" y="2392363"/>
            <a:ext cx="2727325" cy="48895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ru-RU" sz="16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Технологические решения и </a:t>
            </a:r>
            <a:br>
              <a:rPr lang="ru-RU" sz="16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</a:br>
            <a:r>
              <a:rPr lang="ru-RU" sz="16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инфраструктура</a:t>
            </a:r>
            <a:endParaRPr lang="ru-RU" sz="16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3" name="Прямоугольник 32"/>
          <p:cNvSpPr/>
          <p:nvPr>
            <p:custDataLst>
              <p:tags r:id="rId12"/>
            </p:custDataLst>
          </p:nvPr>
        </p:nvSpPr>
        <p:spPr bwMode="auto">
          <a:xfrm>
            <a:off x="5653088" y="2514600"/>
            <a:ext cx="633413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8575" tIns="0" rIns="2857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D8449D6-834D-46F7-B746-30C4CDF72E85}" type="datetime'''''''''''''''''''''''''''''''''''''2''''''''''''''''''3.''8'">
              <a:rPr lang="en-US" sz="16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>
                <a:spcBef>
                  <a:spcPct val="0"/>
                </a:spcBef>
                <a:spcAft>
                  <a:spcPct val="0"/>
                </a:spcAft>
              </a:pPr>
              <a:t>23.8</a:t>
            </a:fld>
            <a:r>
              <a:rPr lang="ru-RU" sz="16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%</a:t>
            </a:r>
            <a:endParaRPr lang="ru-RU" sz="16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" name="Прямоугольник 6"/>
          <p:cNvSpPr/>
          <p:nvPr>
            <p:custDataLst>
              <p:tags r:id="rId13"/>
            </p:custDataLst>
          </p:nvPr>
        </p:nvSpPr>
        <p:spPr bwMode="auto">
          <a:xfrm>
            <a:off x="3459163" y="1433513"/>
            <a:ext cx="609600" cy="2444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ru-RU" sz="1600" dirty="0" smtClean="0">
                <a:solidFill>
                  <a:schemeClr val="tx1"/>
                </a:solidFill>
                <a:latin typeface="Arial" charset="0"/>
                <a:sym typeface="Arial" charset="0"/>
              </a:rPr>
              <a:t>Кадры</a:t>
            </a:r>
          </a:p>
        </p:txBody>
      </p:sp>
    </p:spTree>
    <p:extLst>
      <p:ext uri="{BB962C8B-B14F-4D97-AF65-F5344CB8AC3E}">
        <p14:creationId xmlns="" xmlns:p14="http://schemas.microsoft.com/office/powerpoint/2010/main" val="1186754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98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139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g3eSQxOk2ROAp5g32At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Ebp0nlFkGxcPnY.Tbmd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bZhRVB3kWG_tQwoASK2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nWvvX3RECvY_Ayl9g3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RoRDH0.0eiCDVbxscX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1crUg2jrU.C6LitybBUU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1vGct8pUaYp.I0qLckw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I4GcVZSUqpTfcYQscNn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CkptnleEyv87KnL14XE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8AAMy6UEC0c3R.fX7fl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mBRg6H1kSnyWdLXxpz5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gAI5QhxkGkdvQR6lf8S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8</TotalTime>
  <Words>36</Words>
  <Application>Microsoft Office PowerPoint</Application>
  <PresentationFormat>Экран (4:3)</PresentationFormat>
  <Paragraphs>11</Paragraphs>
  <Slides>1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</vt:i4>
      </vt:variant>
    </vt:vector>
  </HeadingPairs>
  <TitlesOfParts>
    <vt:vector size="4" baseType="lpstr">
      <vt:lpstr>Тема Office</vt:lpstr>
      <vt:lpstr>think-cell Slide</vt:lpstr>
      <vt:lpstr>Диаграмма</vt:lpstr>
      <vt:lpstr>Слайд 1</vt:lpstr>
    </vt:vector>
  </TitlesOfParts>
  <Company>Аналитический центр "Форум"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denisova</dc:creator>
  <cp:lastModifiedBy>Бакумов</cp:lastModifiedBy>
  <cp:revision>12</cp:revision>
  <dcterms:created xsi:type="dcterms:W3CDTF">2012-03-20T09:36:39Z</dcterms:created>
  <dcterms:modified xsi:type="dcterms:W3CDTF">2012-03-27T10:56:59Z</dcterms:modified>
</cp:coreProperties>
</file>